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439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31" autoAdjust="0"/>
    <p:restoredTop sz="93970" autoAdjust="0"/>
  </p:normalViewPr>
  <p:slideViewPr>
    <p:cSldViewPr snapToGrid="0">
      <p:cViewPr varScale="1">
        <p:scale>
          <a:sx n="58" d="100"/>
          <a:sy n="58" d="100"/>
        </p:scale>
        <p:origin x="472" y="4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0/31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0/3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405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059399" y="1771743"/>
            <a:ext cx="7943744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		Insert picture he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351316" y="344821"/>
            <a:ext cx="12413343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brand nam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4486" y="771890"/>
            <a:ext cx="12439452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campaign 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2237670" y="6915151"/>
            <a:ext cx="2006916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355657" y="2096146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355657" y="4385300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355921" y="1803813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Background’ here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355921" y="4108646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Idea’ her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6986100" y="5635626"/>
            <a:ext cx="59276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nsert quote here – can run to two lines</a:t>
            </a:r>
          </a:p>
        </p:txBody>
      </p:sp>
    </p:spTree>
    <p:extLst>
      <p:ext uri="{BB962C8B-B14F-4D97-AF65-F5344CB8AC3E}">
        <p14:creationId xmlns:p14="http://schemas.microsoft.com/office/powerpoint/2010/main" val="351289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55220" y="262676"/>
            <a:ext cx="9308541" cy="409568"/>
          </a:xfrm>
        </p:spPr>
        <p:txBody>
          <a:bodyPr/>
          <a:lstStyle/>
          <a:p>
            <a:r>
              <a:rPr lang="en-GB" dirty="0"/>
              <a:t>THE GUARDIA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4588" y="672244"/>
            <a:ext cx="9328120" cy="237225"/>
          </a:xfrm>
          <a:ln>
            <a:noFill/>
          </a:ln>
        </p:spPr>
        <p:txBody>
          <a:bodyPr/>
          <a:lstStyle/>
          <a:p>
            <a:r>
              <a:rPr lang="en-GB" dirty="0"/>
              <a:t>Saturday Magazine Relaunch ‘Forgotten how to Saturday?’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55379" y="2341027"/>
            <a:ext cx="6255302" cy="1971665"/>
          </a:xfrm>
        </p:spPr>
        <p:txBody>
          <a:bodyPr>
            <a:noAutofit/>
          </a:bodyPr>
          <a:lstStyle/>
          <a:p>
            <a:pPr>
              <a:spcBef>
                <a:spcPts val="1100"/>
              </a:spcBef>
            </a:pPr>
            <a:r>
              <a:rPr lang="en-GB" sz="1200" b="1" kern="1000" dirty="0">
                <a:solidFill>
                  <a:schemeClr val="accent2"/>
                </a:solidFill>
              </a:rPr>
              <a:t>Background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i="1" kern="1000" dirty="0">
                <a:solidFill>
                  <a:schemeClr val="bg1"/>
                </a:solidFill>
              </a:rPr>
              <a:t>The Guardian </a:t>
            </a:r>
            <a:r>
              <a:rPr lang="en-GB" sz="1100" kern="1000" dirty="0">
                <a:solidFill>
                  <a:schemeClr val="bg1"/>
                </a:solidFill>
              </a:rPr>
              <a:t>wanted to create an impact using cinema’s high-attention, premium environment to reach an ABC1 adult audience to relaunch its Saturday Magazine, as a super-sized 100+ page format which would sit inside the day’s paper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The goal was to increase consideration to purchase or subscribe among key audiences. Specific targets included increasing newsstand market share and delivering 750 new subscriptions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endParaRPr lang="en-GB" sz="1100" kern="10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</a:pPr>
            <a:r>
              <a:rPr lang="en-GB" sz="1200" b="1" kern="1000" dirty="0">
                <a:solidFill>
                  <a:schemeClr val="accent2"/>
                </a:solidFill>
              </a:rPr>
              <a:t>Plan</a:t>
            </a:r>
            <a:endParaRPr lang="en-GB" sz="1200" kern="1000" dirty="0">
              <a:solidFill>
                <a:schemeClr val="accent2"/>
              </a:solidFill>
            </a:endParaRP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i="1" kern="1000" dirty="0">
                <a:solidFill>
                  <a:schemeClr val="bg1"/>
                </a:solidFill>
              </a:rPr>
              <a:t>The Guardian </a:t>
            </a:r>
            <a:r>
              <a:rPr lang="en-GB" sz="1100" kern="1000" dirty="0">
                <a:solidFill>
                  <a:schemeClr val="bg1"/>
                </a:solidFill>
              </a:rPr>
              <a:t>specifically chose to run its 30” copy in showings of </a:t>
            </a:r>
            <a:r>
              <a:rPr lang="en-GB" sz="1100" i="1" kern="1000" dirty="0">
                <a:solidFill>
                  <a:schemeClr val="bg1"/>
                </a:solidFill>
              </a:rPr>
              <a:t>The French Dispatch </a:t>
            </a:r>
            <a:r>
              <a:rPr lang="en-GB" sz="1100" kern="1000" dirty="0">
                <a:solidFill>
                  <a:schemeClr val="bg1"/>
                </a:solidFill>
              </a:rPr>
              <a:t>– a movie which itself focused on the story of a fictional Kansas newspaper supplement produced in the late 60’s by American expatriates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The 30” cinema spot became the hero piece of the relaunch, with its creative then being re-purposed in shorter formats in paid digital, social, and online video to increase awareness amongst both a current and prospective audience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This was also planned alongside non-video formats including physically sampling copies of the magazine, using OOH and using the full suite of the </a:t>
            </a:r>
            <a:r>
              <a:rPr lang="en-GB" sz="1100" i="1" kern="1000" dirty="0">
                <a:solidFill>
                  <a:schemeClr val="bg1"/>
                </a:solidFill>
              </a:rPr>
              <a:t>Guardian's</a:t>
            </a:r>
            <a:r>
              <a:rPr lang="en-GB" sz="1100" kern="1000" dirty="0">
                <a:solidFill>
                  <a:schemeClr val="bg1"/>
                </a:solidFill>
              </a:rPr>
              <a:t> own channels such as press ads, social media, and a dedicated landing page on theguardian.com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endParaRPr lang="en-GB" sz="800" kern="1000" dirty="0">
              <a:solidFill>
                <a:schemeClr val="bg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48EF34C-E573-0882-4FF5-11D1D6DEC28D}"/>
              </a:ext>
            </a:extLst>
          </p:cNvPr>
          <p:cNvSpPr/>
          <p:nvPr/>
        </p:nvSpPr>
        <p:spPr>
          <a:xfrm>
            <a:off x="0" y="7200593"/>
            <a:ext cx="1344294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Guardian,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CM Awards Entry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9C92EC5F-CBB2-4447-97E9-F8F8B64ABA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771365"/>
              </p:ext>
            </p:extLst>
          </p:nvPr>
        </p:nvGraphicFramePr>
        <p:xfrm>
          <a:off x="244588" y="938138"/>
          <a:ext cx="6546736" cy="11402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9347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370234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248461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31165">
                <a:tc gridSpan="5">
                  <a:txBody>
                    <a:bodyPr/>
                    <a:lstStyle/>
                    <a:p>
                      <a:pPr marL="0" marR="0" lvl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9395326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ntertainment &amp;</a:t>
                      </a:r>
                    </a:p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eisu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lm Pack, 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D Medi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2BA09FC-1EC2-4183-90F5-A802020A3D84}"/>
              </a:ext>
            </a:extLst>
          </p:cNvPr>
          <p:cNvSpPr txBox="1"/>
          <p:nvPr/>
        </p:nvSpPr>
        <p:spPr>
          <a:xfrm>
            <a:off x="7032452" y="4046685"/>
            <a:ext cx="5734850" cy="20851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1100"/>
              </a:spcBef>
              <a:buClr>
                <a:schemeClr val="bg1"/>
              </a:buClr>
              <a:buSzPct val="100000"/>
            </a:pPr>
            <a:r>
              <a:rPr lang="en-GB" sz="1400" b="1" kern="1000" dirty="0">
                <a:solidFill>
                  <a:schemeClr val="accent2"/>
                </a:solidFill>
                <a:latin typeface="Arial"/>
                <a:cs typeface="Arial"/>
              </a:rPr>
              <a:t>Results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Cinema activity over-delivered by 27%, driving impactful incremental reach and excitement around the launch of the Saturday Magazine.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In its launch week, the Saturday Guardian saw its highest market share for 19 months (since March 2020) at 18.2% and the weekends following launch continued to see an increase in year-on-year market share. 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In total, the campaign drove 1,080 subscriptions, 52% higher than the previous period and 44% higher than the target of 750 new subscriptions that had been set for the campaign.</a:t>
            </a:r>
          </a:p>
        </p:txBody>
      </p:sp>
      <p:pic>
        <p:nvPicPr>
          <p:cNvPr id="4" name="Picture 3" descr="A person in a red dress&#10;&#10;Description automatically generated with low confidence">
            <a:extLst>
              <a:ext uri="{FF2B5EF4-FFF2-40B4-BE49-F238E27FC236}">
                <a16:creationId xmlns:a16="http://schemas.microsoft.com/office/drawing/2014/main" id="{A0A54A1E-2F0F-45C7-8EBC-85FD75519B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2452" y="914739"/>
            <a:ext cx="5734850" cy="286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7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3</Words>
  <Application>Microsoft Office PowerPoint</Application>
  <PresentationFormat>Custom</PresentationFormat>
  <Paragraphs>2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entury Gothic</vt:lpstr>
      <vt:lpstr>Impact</vt:lpstr>
      <vt:lpstr>Lucida Grande</vt:lpstr>
      <vt:lpstr>LucidaGrande</vt:lpstr>
      <vt:lpstr>Wingdings</vt:lpstr>
      <vt:lpstr>1_Blank with title</vt:lpstr>
      <vt:lpstr>think-cell Slide</vt:lpstr>
      <vt:lpstr>THE GUARDIA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2-10-31T15:04:1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